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0"/>
  </p:notesMasterIdLst>
  <p:handoutMasterIdLst>
    <p:handoutMasterId r:id="rId21"/>
  </p:handoutMasterIdLst>
  <p:sldIdLst>
    <p:sldId id="1277" r:id="rId4"/>
    <p:sldId id="1293" r:id="rId5"/>
    <p:sldId id="1294" r:id="rId6"/>
    <p:sldId id="1296" r:id="rId7"/>
    <p:sldId id="1359" r:id="rId8"/>
    <p:sldId id="1362" r:id="rId9"/>
    <p:sldId id="1360" r:id="rId10"/>
    <p:sldId id="1361" r:id="rId11"/>
    <p:sldId id="1365" r:id="rId12"/>
    <p:sldId id="1366" r:id="rId13"/>
    <p:sldId id="1364" r:id="rId14"/>
    <p:sldId id="1363" r:id="rId15"/>
    <p:sldId id="1343" r:id="rId16"/>
    <p:sldId id="1344" r:id="rId17"/>
    <p:sldId id="1345" r:id="rId18"/>
    <p:sldId id="1346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62"/>
            <p14:sldId id="1360"/>
            <p14:sldId id="1361"/>
            <p14:sldId id="1365"/>
            <p14:sldId id="1366"/>
            <p14:sldId id="1364"/>
            <p14:sldId id="136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FDB69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E26-4630-A812-777EA7EFC430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Jihočeský kraj</c:v>
                </c:pt>
                <c:pt idx="5">
                  <c:v>Liberec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5825186888999999</c:v>
                </c:pt>
                <c:pt idx="1">
                  <c:v>0.35813953488299999</c:v>
                </c:pt>
                <c:pt idx="2">
                  <c:v>0.31199502796700002</c:v>
                </c:pt>
                <c:pt idx="3">
                  <c:v>0.31013916500900002</c:v>
                </c:pt>
                <c:pt idx="4">
                  <c:v>0.291921664626</c:v>
                </c:pt>
                <c:pt idx="5">
                  <c:v>0.26322263222600001</c:v>
                </c:pt>
                <c:pt idx="6">
                  <c:v>0.25083240843499999</c:v>
                </c:pt>
                <c:pt idx="7">
                  <c:v>0.24449038842199999</c:v>
                </c:pt>
                <c:pt idx="8">
                  <c:v>0.23731138545899999</c:v>
                </c:pt>
                <c:pt idx="9">
                  <c:v>0.22616407982200001</c:v>
                </c:pt>
                <c:pt idx="10">
                  <c:v>0.21388101982999999</c:v>
                </c:pt>
                <c:pt idx="11">
                  <c:v>0.19138755980800001</c:v>
                </c:pt>
                <c:pt idx="12">
                  <c:v>0.18396987627700001</c:v>
                </c:pt>
                <c:pt idx="13">
                  <c:v>0.13696892834400001</c:v>
                </c:pt>
                <c:pt idx="14">
                  <c:v>0.13480741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4F6-4B98-A87E-16778D7885BE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04-40BF-837A-EC3075975C21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Zlínský kraj</c:v>
                </c:pt>
                <c:pt idx="6">
                  <c:v>Jihočes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Úste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41592920353899998</c:v>
                </c:pt>
                <c:pt idx="1">
                  <c:v>0.41414141414099997</c:v>
                </c:pt>
                <c:pt idx="2">
                  <c:v>0.38425925925900001</c:v>
                </c:pt>
                <c:pt idx="3">
                  <c:v>0.35114503816699999</c:v>
                </c:pt>
                <c:pt idx="4">
                  <c:v>0.33478260869499998</c:v>
                </c:pt>
                <c:pt idx="5">
                  <c:v>0.32240437158399998</c:v>
                </c:pt>
                <c:pt idx="6">
                  <c:v>0.29931972789099998</c:v>
                </c:pt>
                <c:pt idx="7">
                  <c:v>0.28865979381399998</c:v>
                </c:pt>
                <c:pt idx="8">
                  <c:v>0.28414096916199999</c:v>
                </c:pt>
                <c:pt idx="9">
                  <c:v>0.28290766208200002</c:v>
                </c:pt>
                <c:pt idx="10">
                  <c:v>0.26315789473599999</c:v>
                </c:pt>
                <c:pt idx="11">
                  <c:v>0.25660377358399999</c:v>
                </c:pt>
                <c:pt idx="12">
                  <c:v>0.20792079207899999</c:v>
                </c:pt>
                <c:pt idx="13">
                  <c:v>0.20481927710799999</c:v>
                </c:pt>
                <c:pt idx="14">
                  <c:v>0.17070063694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81-497E-AFA1-C45C5FDAC5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Středočeský kraj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Karlovarský kraj</c:v>
                </c:pt>
                <c:pt idx="13">
                  <c:v>Plzeň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6956521739100001</c:v>
                </c:pt>
                <c:pt idx="1">
                  <c:v>0.34615384615299999</c:v>
                </c:pt>
                <c:pt idx="2">
                  <c:v>0.328125</c:v>
                </c:pt>
                <c:pt idx="3">
                  <c:v>0.32489451476699999</c:v>
                </c:pt>
                <c:pt idx="4">
                  <c:v>0.25352112675999999</c:v>
                </c:pt>
                <c:pt idx="5">
                  <c:v>0.225806451612</c:v>
                </c:pt>
                <c:pt idx="6">
                  <c:v>0.225806451612</c:v>
                </c:pt>
                <c:pt idx="7">
                  <c:v>0.210526315789</c:v>
                </c:pt>
                <c:pt idx="8">
                  <c:v>0.202735710796</c:v>
                </c:pt>
                <c:pt idx="9">
                  <c:v>0.184873949579</c:v>
                </c:pt>
                <c:pt idx="10">
                  <c:v>0.181229773462</c:v>
                </c:pt>
                <c:pt idx="11">
                  <c:v>0.14814814814800001</c:v>
                </c:pt>
                <c:pt idx="12">
                  <c:v>0.13953488372</c:v>
                </c:pt>
                <c:pt idx="13">
                  <c:v>0.13793103448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6</c:v>
                </c:pt>
                <c:pt idx="19">
                  <c:v>795</c:v>
                </c:pt>
                <c:pt idx="20">
                  <c:v>840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2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0</c:v>
                </c:pt>
                <c:pt idx="45">
                  <c:v>4779</c:v>
                </c:pt>
                <c:pt idx="46">
                  <c:v>4853</c:v>
                </c:pt>
                <c:pt idx="47">
                  <c:v>4814</c:v>
                </c:pt>
                <c:pt idx="48">
                  <c:v>5180</c:v>
                </c:pt>
                <c:pt idx="49">
                  <c:v>5305</c:v>
                </c:pt>
                <c:pt idx="50">
                  <c:v>5196</c:v>
                </c:pt>
                <c:pt idx="51">
                  <c:v>5401</c:v>
                </c:pt>
                <c:pt idx="52">
                  <c:v>5993</c:v>
                </c:pt>
                <c:pt idx="53">
                  <c:v>6110</c:v>
                </c:pt>
                <c:pt idx="54">
                  <c:v>6202</c:v>
                </c:pt>
                <c:pt idx="55">
                  <c:v>6310</c:v>
                </c:pt>
                <c:pt idx="56">
                  <c:v>6409</c:v>
                </c:pt>
                <c:pt idx="57">
                  <c:v>6196</c:v>
                </c:pt>
                <c:pt idx="58">
                  <c:v>6395</c:v>
                </c:pt>
                <c:pt idx="59">
                  <c:v>7066</c:v>
                </c:pt>
                <c:pt idx="60">
                  <c:v>7001</c:v>
                </c:pt>
                <c:pt idx="61">
                  <c:v>6943</c:v>
                </c:pt>
                <c:pt idx="62">
                  <c:v>7037</c:v>
                </c:pt>
                <c:pt idx="63">
                  <c:v>6986</c:v>
                </c:pt>
                <c:pt idx="64">
                  <c:v>6499</c:v>
                </c:pt>
                <c:pt idx="65">
                  <c:v>6601</c:v>
                </c:pt>
                <c:pt idx="66">
                  <c:v>7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42</c:v>
                </c:pt>
                <c:pt idx="59">
                  <c:v>986</c:v>
                </c:pt>
                <c:pt idx="60">
                  <c:v>989</c:v>
                </c:pt>
                <c:pt idx="61">
                  <c:v>979</c:v>
                </c:pt>
                <c:pt idx="62">
                  <c:v>970</c:v>
                </c:pt>
                <c:pt idx="63">
                  <c:v>962</c:v>
                </c:pt>
                <c:pt idx="64">
                  <c:v>931</c:v>
                </c:pt>
                <c:pt idx="65">
                  <c:v>958</c:v>
                </c:pt>
                <c:pt idx="66">
                  <c:v>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1425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svg"/><Relationship Id="rId5" Type="http://schemas.openxmlformats.org/officeDocument/2006/relationships/image" Target="../media/image6.png"/><Relationship Id="rId4" Type="http://schemas.openxmlformats.org/officeDocument/2006/relationships/image" Target="../media/image5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062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862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43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341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497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8365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408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2850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4522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25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9800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82652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1631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62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8</a:t>
            </a:r>
            <a:r>
              <a:rPr lang="cs-CZ" b="1" dirty="0" smtClean="0"/>
              <a:t>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C651132E-BB80-4579-ACEF-C96EDDB476D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0452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7172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17330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1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7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67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loňským podzimem datům z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14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1D25E3E8-FB17-40B0-9079-941C457344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9908" y="1213339"/>
            <a:ext cx="8563708" cy="511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419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744701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 16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076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88458"/>
              </p:ext>
            </p:extLst>
          </p:nvPr>
        </p:nvGraphicFramePr>
        <p:xfrm>
          <a:off x="367815" y="963978"/>
          <a:ext cx="11405086" cy="516320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ituace se zhoršuje, postupně navyšovány kapacity standardní i intenzivní péče, kde již minimální rezerva jednotek lůžek. Mnohde již na hraně možností, které jsou nižší než v jarních měsících.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krizová situace může i během hodin přejít v krizovou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237326"/>
              </p:ext>
            </p:extLst>
          </p:nvPr>
        </p:nvGraphicFramePr>
        <p:xfrm>
          <a:off x="270500" y="990491"/>
          <a:ext cx="11587543" cy="5539242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5799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bilizovaná situace s mírným postupným nárůstem. Potenciálním problémem jsou nákazy v LDN v několika zařízeních (Horažďovice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ivame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 Při předpokladu zhoršování stavu pacientů vyžadujících IP je nutné uvažovat o dalším omezení elektivní péče v horizontu týdne – momentální JIP kapacita je významně plná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552319"/>
              </p:ext>
            </p:extLst>
          </p:nvPr>
        </p:nvGraphicFramePr>
        <p:xfrm>
          <a:off x="350228" y="664385"/>
          <a:ext cx="11519385" cy="6074950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70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ání KŠ: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á naplněnos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ddělení nemocnic, připravena redistribuce pacientů mezi nemocnicemi v kraj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8098300"/>
              </p:ext>
            </p:extLst>
          </p:nvPr>
        </p:nvGraphicFramePr>
        <p:xfrm>
          <a:off x="337698" y="706833"/>
          <a:ext cx="11435203" cy="4042430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ěhem týdne velký počet příjmů na JIP. Nyní situace řešitelná v rámci kraje (3.12. otevřeny další JIP kapacity pro C+). Posledních pět dnů pozorujeme stagnaci počtu hospitalizovaných v pásmu 380-390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ardy plné ve Vsetíně a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JIP plné ve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robíhají denně převozy pacientů v rámci ZLK (vše do KNTB Zlín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45 PN, z toho 40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74795" y="2538209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8</a:t>
            </a:r>
            <a:r>
              <a:rPr lang="cs-CZ" b="1" dirty="0" smtClean="0"/>
              <a:t>.12.2021 0:22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8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9" name="Tabulk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6370697"/>
              </p:ext>
            </p:extLst>
          </p:nvPr>
        </p:nvGraphicFramePr>
        <p:xfrm>
          <a:off x="332818" y="984744"/>
          <a:ext cx="9152792" cy="5384403"/>
        </p:xfrm>
        <a:graphic>
          <a:graphicData uri="http://schemas.openxmlformats.org/drawingml/2006/table">
            <a:tbl>
              <a:tblPr/>
              <a:tblGrid>
                <a:gridCol w="1991798">
                  <a:extLst>
                    <a:ext uri="{9D8B030D-6E8A-4147-A177-3AD203B41FA5}">
                      <a16:colId xmlns:a16="http://schemas.microsoft.com/office/drawing/2014/main" val="2550869380"/>
                    </a:ext>
                  </a:extLst>
                </a:gridCol>
                <a:gridCol w="1219470">
                  <a:extLst>
                    <a:ext uri="{9D8B030D-6E8A-4147-A177-3AD203B41FA5}">
                      <a16:colId xmlns:a16="http://schemas.microsoft.com/office/drawing/2014/main" val="3846764792"/>
                    </a:ext>
                  </a:extLst>
                </a:gridCol>
                <a:gridCol w="1128009">
                  <a:extLst>
                    <a:ext uri="{9D8B030D-6E8A-4147-A177-3AD203B41FA5}">
                      <a16:colId xmlns:a16="http://schemas.microsoft.com/office/drawing/2014/main" val="2477586176"/>
                    </a:ext>
                  </a:extLst>
                </a:gridCol>
                <a:gridCol w="1124621">
                  <a:extLst>
                    <a:ext uri="{9D8B030D-6E8A-4147-A177-3AD203B41FA5}">
                      <a16:colId xmlns:a16="http://schemas.microsoft.com/office/drawing/2014/main" val="1773918347"/>
                    </a:ext>
                  </a:extLst>
                </a:gridCol>
                <a:gridCol w="1165270">
                  <a:extLst>
                    <a:ext uri="{9D8B030D-6E8A-4147-A177-3AD203B41FA5}">
                      <a16:colId xmlns:a16="http://schemas.microsoft.com/office/drawing/2014/main" val="3497122890"/>
                    </a:ext>
                  </a:extLst>
                </a:gridCol>
                <a:gridCol w="1168658">
                  <a:extLst>
                    <a:ext uri="{9D8B030D-6E8A-4147-A177-3AD203B41FA5}">
                      <a16:colId xmlns:a16="http://schemas.microsoft.com/office/drawing/2014/main" val="4115568190"/>
                    </a:ext>
                  </a:extLst>
                </a:gridCol>
                <a:gridCol w="1354966">
                  <a:extLst>
                    <a:ext uri="{9D8B030D-6E8A-4147-A177-3AD203B41FA5}">
                      <a16:colId xmlns:a16="http://schemas.microsoft.com/office/drawing/2014/main" val="4288137233"/>
                    </a:ext>
                  </a:extLst>
                </a:gridCol>
              </a:tblGrid>
              <a:tr h="22079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8.12. 2021, 11:30 h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670487"/>
                  </a:ext>
                </a:extLst>
              </a:tr>
              <a:tr h="18452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8534904"/>
                  </a:ext>
                </a:extLst>
              </a:tr>
              <a:tr h="2050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2483149"/>
                  </a:ext>
                </a:extLst>
              </a:tr>
              <a:tr h="79644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4845109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5405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789692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5277251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9475184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325067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407672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8187078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8161314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994959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873899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2981553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407269"/>
                  </a:ext>
                </a:extLst>
              </a:tr>
              <a:tr h="1971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8219577"/>
                  </a:ext>
                </a:extLst>
              </a:tr>
              <a:tr h="2129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940498"/>
                  </a:ext>
                </a:extLst>
              </a:tr>
              <a:tr h="2050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6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356" marR="6356" marT="63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766994"/>
                  </a:ext>
                </a:extLst>
              </a:tr>
              <a:tr h="26811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760303"/>
                  </a:ext>
                </a:extLst>
              </a:tr>
              <a:tr h="18452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6030503"/>
                  </a:ext>
                </a:extLst>
              </a:tr>
              <a:tr h="7471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619726"/>
                  </a:ext>
                </a:extLst>
              </a:tr>
              <a:tr h="19714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6" marR="6356" marT="63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300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690367"/>
              </p:ext>
            </p:extLst>
          </p:nvPr>
        </p:nvGraphicFramePr>
        <p:xfrm>
          <a:off x="332819" y="993528"/>
          <a:ext cx="9355016" cy="5312869"/>
        </p:xfrm>
        <a:graphic>
          <a:graphicData uri="http://schemas.openxmlformats.org/drawingml/2006/table">
            <a:tbl>
              <a:tblPr/>
              <a:tblGrid>
                <a:gridCol w="2036560">
                  <a:extLst>
                    <a:ext uri="{9D8B030D-6E8A-4147-A177-3AD203B41FA5}">
                      <a16:colId xmlns:a16="http://schemas.microsoft.com/office/drawing/2014/main" val="392820553"/>
                    </a:ext>
                  </a:extLst>
                </a:gridCol>
                <a:gridCol w="1246874">
                  <a:extLst>
                    <a:ext uri="{9D8B030D-6E8A-4147-A177-3AD203B41FA5}">
                      <a16:colId xmlns:a16="http://schemas.microsoft.com/office/drawing/2014/main" val="1555099468"/>
                    </a:ext>
                  </a:extLst>
                </a:gridCol>
                <a:gridCol w="1153358">
                  <a:extLst>
                    <a:ext uri="{9D8B030D-6E8A-4147-A177-3AD203B41FA5}">
                      <a16:colId xmlns:a16="http://schemas.microsoft.com/office/drawing/2014/main" val="716749160"/>
                    </a:ext>
                  </a:extLst>
                </a:gridCol>
                <a:gridCol w="1149894">
                  <a:extLst>
                    <a:ext uri="{9D8B030D-6E8A-4147-A177-3AD203B41FA5}">
                      <a16:colId xmlns:a16="http://schemas.microsoft.com/office/drawing/2014/main" val="2369207073"/>
                    </a:ext>
                  </a:extLst>
                </a:gridCol>
                <a:gridCol w="1191457">
                  <a:extLst>
                    <a:ext uri="{9D8B030D-6E8A-4147-A177-3AD203B41FA5}">
                      <a16:colId xmlns:a16="http://schemas.microsoft.com/office/drawing/2014/main" val="2998267107"/>
                    </a:ext>
                  </a:extLst>
                </a:gridCol>
                <a:gridCol w="1194921">
                  <a:extLst>
                    <a:ext uri="{9D8B030D-6E8A-4147-A177-3AD203B41FA5}">
                      <a16:colId xmlns:a16="http://schemas.microsoft.com/office/drawing/2014/main" val="127162191"/>
                    </a:ext>
                  </a:extLst>
                </a:gridCol>
                <a:gridCol w="1381952">
                  <a:extLst>
                    <a:ext uri="{9D8B030D-6E8A-4147-A177-3AD203B41FA5}">
                      <a16:colId xmlns:a16="http://schemas.microsoft.com/office/drawing/2014/main" val="1576843945"/>
                    </a:ext>
                  </a:extLst>
                </a:gridCol>
              </a:tblGrid>
              <a:tr h="21409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8.12. 2021, 11:30 h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6612512"/>
                  </a:ext>
                </a:extLst>
              </a:tr>
              <a:tr h="19880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0888379"/>
                  </a:ext>
                </a:extLst>
              </a:tr>
              <a:tr h="19880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568602"/>
                  </a:ext>
                </a:extLst>
              </a:tr>
              <a:tr h="77228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3443179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929856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5947580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959037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74315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703833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636100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81938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343508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048660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730629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335863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0235093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9283537"/>
                  </a:ext>
                </a:extLst>
              </a:tr>
              <a:tr h="1988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5199614"/>
                  </a:ext>
                </a:extLst>
              </a:tr>
              <a:tr h="2064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16" marR="6416" marT="64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82410"/>
                  </a:ext>
                </a:extLst>
              </a:tr>
              <a:tr h="19874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040853"/>
                  </a:ext>
                </a:extLst>
              </a:tr>
              <a:tr h="19874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984441"/>
                  </a:ext>
                </a:extLst>
              </a:tr>
              <a:tr h="23384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349470"/>
                  </a:ext>
                </a:extLst>
              </a:tr>
              <a:tr h="19874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16" marR="6416" marT="64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77829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8.12.2021 0:22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 </a:t>
            </a:r>
            <a:r>
              <a:rPr lang="cs-CZ" sz="2000" b="1" dirty="0" smtClean="0"/>
              <a:t>689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161071"/>
              </p:ext>
            </p:extLst>
          </p:nvPr>
        </p:nvGraphicFramePr>
        <p:xfrm>
          <a:off x="332818" y="1053430"/>
          <a:ext cx="8837558" cy="5186970"/>
        </p:xfrm>
        <a:graphic>
          <a:graphicData uri="http://schemas.openxmlformats.org/drawingml/2006/table">
            <a:tbl>
              <a:tblPr/>
              <a:tblGrid>
                <a:gridCol w="1884833">
                  <a:extLst>
                    <a:ext uri="{9D8B030D-6E8A-4147-A177-3AD203B41FA5}">
                      <a16:colId xmlns:a16="http://schemas.microsoft.com/office/drawing/2014/main" val="536270969"/>
                    </a:ext>
                  </a:extLst>
                </a:gridCol>
                <a:gridCol w="1153979">
                  <a:extLst>
                    <a:ext uri="{9D8B030D-6E8A-4147-A177-3AD203B41FA5}">
                      <a16:colId xmlns:a16="http://schemas.microsoft.com/office/drawing/2014/main" val="1797628605"/>
                    </a:ext>
                  </a:extLst>
                </a:gridCol>
                <a:gridCol w="1067431">
                  <a:extLst>
                    <a:ext uri="{9D8B030D-6E8A-4147-A177-3AD203B41FA5}">
                      <a16:colId xmlns:a16="http://schemas.microsoft.com/office/drawing/2014/main" val="4247426"/>
                    </a:ext>
                  </a:extLst>
                </a:gridCol>
                <a:gridCol w="1064226">
                  <a:extLst>
                    <a:ext uri="{9D8B030D-6E8A-4147-A177-3AD203B41FA5}">
                      <a16:colId xmlns:a16="http://schemas.microsoft.com/office/drawing/2014/main" val="422269092"/>
                    </a:ext>
                  </a:extLst>
                </a:gridCol>
                <a:gridCol w="1102691">
                  <a:extLst>
                    <a:ext uri="{9D8B030D-6E8A-4147-A177-3AD203B41FA5}">
                      <a16:colId xmlns:a16="http://schemas.microsoft.com/office/drawing/2014/main" val="1334203391"/>
                    </a:ext>
                  </a:extLst>
                </a:gridCol>
                <a:gridCol w="1282199">
                  <a:extLst>
                    <a:ext uri="{9D8B030D-6E8A-4147-A177-3AD203B41FA5}">
                      <a16:colId xmlns:a16="http://schemas.microsoft.com/office/drawing/2014/main" val="1077186553"/>
                    </a:ext>
                  </a:extLst>
                </a:gridCol>
                <a:gridCol w="1282199">
                  <a:extLst>
                    <a:ext uri="{9D8B030D-6E8A-4147-A177-3AD203B41FA5}">
                      <a16:colId xmlns:a16="http://schemas.microsoft.com/office/drawing/2014/main" val="3616235616"/>
                    </a:ext>
                  </a:extLst>
                </a:gridCol>
              </a:tblGrid>
              <a:tr h="22639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8.12. 2021, 11:30 h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4103565"/>
                  </a:ext>
                </a:extLst>
              </a:tr>
              <a:tr h="2102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102045"/>
                  </a:ext>
                </a:extLst>
              </a:tr>
              <a:tr h="2263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1060153"/>
                  </a:ext>
                </a:extLst>
              </a:tr>
              <a:tr h="61449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723622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006170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183977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953827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424724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075357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8925786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319287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187818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016653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179747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9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698930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843193"/>
                  </a:ext>
                </a:extLst>
              </a:tr>
              <a:tr h="2021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06761"/>
                  </a:ext>
                </a:extLst>
              </a:tr>
              <a:tr h="2102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3296811"/>
                  </a:ext>
                </a:extLst>
              </a:tr>
              <a:tr h="21830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5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2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5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641" marR="6641" marT="66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6641" marR="6641" marT="66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091266"/>
                  </a:ext>
                </a:extLst>
              </a:tr>
              <a:tr h="20213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880826"/>
                  </a:ext>
                </a:extLst>
              </a:tr>
              <a:tr h="2020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824849"/>
                  </a:ext>
                </a:extLst>
              </a:tr>
              <a:tr h="18140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1064179"/>
                  </a:ext>
                </a:extLst>
              </a:tr>
              <a:tr h="20213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41" marR="6641" marT="664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948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8.12.2021 11:45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886466"/>
              </p:ext>
            </p:extLst>
          </p:nvPr>
        </p:nvGraphicFramePr>
        <p:xfrm>
          <a:off x="781443" y="2023571"/>
          <a:ext cx="6398596" cy="2771770"/>
        </p:xfrm>
        <a:graphic>
          <a:graphicData uri="http://schemas.openxmlformats.org/drawingml/2006/table">
            <a:tbl>
              <a:tblPr/>
              <a:tblGrid>
                <a:gridCol w="399266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64324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741605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12.2021 6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12.2021 9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9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21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12.2021 9:0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Přerov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12.2021 10:1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av hematologie a krevní transfuz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12.2021 11:0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538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788913"/>
              </p:ext>
            </p:extLst>
          </p:nvPr>
        </p:nvGraphicFramePr>
        <p:xfrm>
          <a:off x="8054963" y="3777157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3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1 %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346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245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CF2E5653-78E0-41DA-AEC1-52B19701153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1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7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1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5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6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55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772413" y="60452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946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436</TotalTime>
  <Words>2273</Words>
  <Application>Microsoft Office PowerPoint</Application>
  <PresentationFormat>Širokoúhlá obrazovka</PresentationFormat>
  <Paragraphs>682</Paragraphs>
  <Slides>16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655</cp:revision>
  <cp:lastPrinted>2020-10-20T04:21:56Z</cp:lastPrinted>
  <dcterms:created xsi:type="dcterms:W3CDTF">2020-07-15T10:33:32Z</dcterms:created>
  <dcterms:modified xsi:type="dcterms:W3CDTF">2021-12-08T14:39:14Z</dcterms:modified>
</cp:coreProperties>
</file>